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5AB60-DED8-8CF1-40D8-1478DB1947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8EAE3BC-F171-D849-84B1-2CD0BCB8DA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AE3BC-F171-D849-84B1-2CD0BCB8D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5EDD79-7C1A-CF8F-2EAD-23B1AC45D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0DF96-0234-B5D3-0086-1D37004FB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" name="กลุ่ม 78848">
            <a:extLst>
              <a:ext uri="{FF2B5EF4-FFF2-40B4-BE49-F238E27FC236}">
                <a16:creationId xmlns:a16="http://schemas.microsoft.com/office/drawing/2014/main" id="{12683DEA-5E86-B3CA-B5E0-79EAB0363A8A}"/>
              </a:ext>
            </a:extLst>
          </p:cNvPr>
          <p:cNvGrpSpPr/>
          <p:nvPr/>
        </p:nvGrpSpPr>
        <p:grpSpPr>
          <a:xfrm>
            <a:off x="3886481" y="1508541"/>
            <a:ext cx="4459349" cy="4467225"/>
            <a:chOff x="7296150" y="2687637"/>
            <a:chExt cx="9886950" cy="9904413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21FC6454-CB6C-AD34-C9EE-6A30FBF93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1125" y="2687637"/>
              <a:ext cx="4371975" cy="4370388"/>
            </a:xfrm>
            <a:custGeom>
              <a:avLst/>
              <a:gdLst>
                <a:gd name="T0" fmla="*/ 23 w 210"/>
                <a:gd name="T1" fmla="*/ 156 h 210"/>
                <a:gd name="T2" fmla="*/ 15 w 210"/>
                <a:gd name="T3" fmla="*/ 173 h 210"/>
                <a:gd name="T4" fmla="*/ 37 w 210"/>
                <a:gd name="T5" fmla="*/ 196 h 210"/>
                <a:gd name="T6" fmla="*/ 54 w 210"/>
                <a:gd name="T7" fmla="*/ 187 h 210"/>
                <a:gd name="T8" fmla="*/ 172 w 210"/>
                <a:gd name="T9" fmla="*/ 173 h 210"/>
                <a:gd name="T10" fmla="*/ 172 w 210"/>
                <a:gd name="T11" fmla="*/ 38 h 210"/>
                <a:gd name="T12" fmla="*/ 37 w 210"/>
                <a:gd name="T13" fmla="*/ 38 h 210"/>
                <a:gd name="T14" fmla="*/ 23 w 210"/>
                <a:gd name="T15" fmla="*/ 15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210">
                  <a:moveTo>
                    <a:pt x="23" y="156"/>
                  </a:moveTo>
                  <a:cubicBezTo>
                    <a:pt x="18" y="160"/>
                    <a:pt x="15" y="166"/>
                    <a:pt x="15" y="173"/>
                  </a:cubicBezTo>
                  <a:cubicBezTo>
                    <a:pt x="15" y="186"/>
                    <a:pt x="25" y="196"/>
                    <a:pt x="37" y="196"/>
                  </a:cubicBezTo>
                  <a:cubicBezTo>
                    <a:pt x="44" y="196"/>
                    <a:pt x="50" y="192"/>
                    <a:pt x="54" y="187"/>
                  </a:cubicBezTo>
                  <a:cubicBezTo>
                    <a:pt x="91" y="210"/>
                    <a:pt x="140" y="205"/>
                    <a:pt x="172" y="173"/>
                  </a:cubicBezTo>
                  <a:cubicBezTo>
                    <a:pt x="210" y="136"/>
                    <a:pt x="210" y="75"/>
                    <a:pt x="172" y="38"/>
                  </a:cubicBezTo>
                  <a:cubicBezTo>
                    <a:pt x="135" y="0"/>
                    <a:pt x="74" y="0"/>
                    <a:pt x="37" y="38"/>
                  </a:cubicBezTo>
                  <a:cubicBezTo>
                    <a:pt x="5" y="70"/>
                    <a:pt x="0" y="119"/>
                    <a:pt x="23" y="15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F2B99C51-1202-B3A1-A653-76FC7E3B9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6150" y="8223250"/>
              <a:ext cx="4349750" cy="4368800"/>
            </a:xfrm>
            <a:custGeom>
              <a:avLst/>
              <a:gdLst>
                <a:gd name="T0" fmla="*/ 186 w 209"/>
                <a:gd name="T1" fmla="*/ 54 h 210"/>
                <a:gd name="T2" fmla="*/ 195 w 209"/>
                <a:gd name="T3" fmla="*/ 37 h 210"/>
                <a:gd name="T4" fmla="*/ 173 w 209"/>
                <a:gd name="T5" fmla="*/ 14 h 210"/>
                <a:gd name="T6" fmla="*/ 155 w 209"/>
                <a:gd name="T7" fmla="*/ 23 h 210"/>
                <a:gd name="T8" fmla="*/ 37 w 209"/>
                <a:gd name="T9" fmla="*/ 37 h 210"/>
                <a:gd name="T10" fmla="*/ 37 w 209"/>
                <a:gd name="T11" fmla="*/ 172 h 210"/>
                <a:gd name="T12" fmla="*/ 173 w 209"/>
                <a:gd name="T13" fmla="*/ 172 h 210"/>
                <a:gd name="T14" fmla="*/ 186 w 209"/>
                <a:gd name="T15" fmla="*/ 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210">
                  <a:moveTo>
                    <a:pt x="186" y="54"/>
                  </a:moveTo>
                  <a:cubicBezTo>
                    <a:pt x="192" y="50"/>
                    <a:pt x="195" y="44"/>
                    <a:pt x="195" y="37"/>
                  </a:cubicBezTo>
                  <a:cubicBezTo>
                    <a:pt x="195" y="24"/>
                    <a:pt x="185" y="14"/>
                    <a:pt x="173" y="14"/>
                  </a:cubicBezTo>
                  <a:cubicBezTo>
                    <a:pt x="166" y="14"/>
                    <a:pt x="159" y="18"/>
                    <a:pt x="155" y="23"/>
                  </a:cubicBezTo>
                  <a:cubicBezTo>
                    <a:pt x="118" y="0"/>
                    <a:pt x="69" y="5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10"/>
                    <a:pt x="135" y="210"/>
                    <a:pt x="173" y="172"/>
                  </a:cubicBezTo>
                  <a:cubicBezTo>
                    <a:pt x="205" y="140"/>
                    <a:pt x="209" y="91"/>
                    <a:pt x="186" y="5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7A7372D0-05C6-BF6C-58D7-46847FE24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6150" y="2687637"/>
              <a:ext cx="4349750" cy="4370388"/>
            </a:xfrm>
            <a:custGeom>
              <a:avLst/>
              <a:gdLst>
                <a:gd name="T0" fmla="*/ 186 w 209"/>
                <a:gd name="T1" fmla="*/ 156 h 210"/>
                <a:gd name="T2" fmla="*/ 195 w 209"/>
                <a:gd name="T3" fmla="*/ 173 h 210"/>
                <a:gd name="T4" fmla="*/ 173 w 209"/>
                <a:gd name="T5" fmla="*/ 196 h 210"/>
                <a:gd name="T6" fmla="*/ 155 w 209"/>
                <a:gd name="T7" fmla="*/ 187 h 210"/>
                <a:gd name="T8" fmla="*/ 37 w 209"/>
                <a:gd name="T9" fmla="*/ 173 h 210"/>
                <a:gd name="T10" fmla="*/ 37 w 209"/>
                <a:gd name="T11" fmla="*/ 38 h 210"/>
                <a:gd name="T12" fmla="*/ 173 w 209"/>
                <a:gd name="T13" fmla="*/ 38 h 210"/>
                <a:gd name="T14" fmla="*/ 186 w 209"/>
                <a:gd name="T15" fmla="*/ 15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210">
                  <a:moveTo>
                    <a:pt x="186" y="156"/>
                  </a:moveTo>
                  <a:cubicBezTo>
                    <a:pt x="192" y="160"/>
                    <a:pt x="195" y="166"/>
                    <a:pt x="195" y="173"/>
                  </a:cubicBezTo>
                  <a:cubicBezTo>
                    <a:pt x="195" y="186"/>
                    <a:pt x="185" y="196"/>
                    <a:pt x="173" y="196"/>
                  </a:cubicBezTo>
                  <a:cubicBezTo>
                    <a:pt x="166" y="196"/>
                    <a:pt x="159" y="192"/>
                    <a:pt x="155" y="187"/>
                  </a:cubicBezTo>
                  <a:cubicBezTo>
                    <a:pt x="118" y="210"/>
                    <a:pt x="69" y="205"/>
                    <a:pt x="37" y="173"/>
                  </a:cubicBezTo>
                  <a:cubicBezTo>
                    <a:pt x="0" y="136"/>
                    <a:pt x="0" y="75"/>
                    <a:pt x="37" y="38"/>
                  </a:cubicBezTo>
                  <a:cubicBezTo>
                    <a:pt x="75" y="0"/>
                    <a:pt x="135" y="0"/>
                    <a:pt x="173" y="38"/>
                  </a:cubicBezTo>
                  <a:cubicBezTo>
                    <a:pt x="205" y="70"/>
                    <a:pt x="209" y="119"/>
                    <a:pt x="186" y="15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C84C9B03-B30E-8A9F-990D-4300499E6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1125" y="8223250"/>
              <a:ext cx="4371975" cy="4368800"/>
            </a:xfrm>
            <a:custGeom>
              <a:avLst/>
              <a:gdLst>
                <a:gd name="T0" fmla="*/ 23 w 210"/>
                <a:gd name="T1" fmla="*/ 54 h 210"/>
                <a:gd name="T2" fmla="*/ 15 w 210"/>
                <a:gd name="T3" fmla="*/ 37 h 210"/>
                <a:gd name="T4" fmla="*/ 37 w 210"/>
                <a:gd name="T5" fmla="*/ 14 h 210"/>
                <a:gd name="T6" fmla="*/ 54 w 210"/>
                <a:gd name="T7" fmla="*/ 23 h 210"/>
                <a:gd name="T8" fmla="*/ 172 w 210"/>
                <a:gd name="T9" fmla="*/ 37 h 210"/>
                <a:gd name="T10" fmla="*/ 172 w 210"/>
                <a:gd name="T11" fmla="*/ 172 h 210"/>
                <a:gd name="T12" fmla="*/ 37 w 210"/>
                <a:gd name="T13" fmla="*/ 172 h 210"/>
                <a:gd name="T14" fmla="*/ 23 w 210"/>
                <a:gd name="T15" fmla="*/ 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210">
                  <a:moveTo>
                    <a:pt x="23" y="54"/>
                  </a:moveTo>
                  <a:cubicBezTo>
                    <a:pt x="18" y="50"/>
                    <a:pt x="15" y="44"/>
                    <a:pt x="15" y="37"/>
                  </a:cubicBezTo>
                  <a:cubicBezTo>
                    <a:pt x="15" y="24"/>
                    <a:pt x="25" y="14"/>
                    <a:pt x="37" y="14"/>
                  </a:cubicBezTo>
                  <a:cubicBezTo>
                    <a:pt x="44" y="14"/>
                    <a:pt x="50" y="18"/>
                    <a:pt x="54" y="23"/>
                  </a:cubicBezTo>
                  <a:cubicBezTo>
                    <a:pt x="91" y="0"/>
                    <a:pt x="140" y="5"/>
                    <a:pt x="172" y="37"/>
                  </a:cubicBezTo>
                  <a:cubicBezTo>
                    <a:pt x="210" y="74"/>
                    <a:pt x="210" y="135"/>
                    <a:pt x="172" y="172"/>
                  </a:cubicBezTo>
                  <a:cubicBezTo>
                    <a:pt x="135" y="210"/>
                    <a:pt x="74" y="210"/>
                    <a:pt x="37" y="172"/>
                  </a:cubicBezTo>
                  <a:cubicBezTo>
                    <a:pt x="5" y="140"/>
                    <a:pt x="0" y="91"/>
                    <a:pt x="23" y="5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1F99DAA1-656C-CF19-C7CD-F0DF4D3DD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7238" y="7618413"/>
              <a:ext cx="915988" cy="895350"/>
            </a:xfrm>
            <a:custGeom>
              <a:avLst/>
              <a:gdLst>
                <a:gd name="T0" fmla="*/ 538 w 577"/>
                <a:gd name="T1" fmla="*/ 564 h 564"/>
                <a:gd name="T2" fmla="*/ 0 w 577"/>
                <a:gd name="T3" fmla="*/ 27 h 564"/>
                <a:gd name="T4" fmla="*/ 26 w 577"/>
                <a:gd name="T5" fmla="*/ 0 h 564"/>
                <a:gd name="T6" fmla="*/ 577 w 577"/>
                <a:gd name="T7" fmla="*/ 538 h 564"/>
                <a:gd name="T8" fmla="*/ 538 w 577"/>
                <a:gd name="T9" fmla="*/ 56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64">
                  <a:moveTo>
                    <a:pt x="538" y="564"/>
                  </a:moveTo>
                  <a:lnTo>
                    <a:pt x="0" y="27"/>
                  </a:lnTo>
                  <a:lnTo>
                    <a:pt x="26" y="0"/>
                  </a:lnTo>
                  <a:lnTo>
                    <a:pt x="577" y="538"/>
                  </a:lnTo>
                  <a:lnTo>
                    <a:pt x="538" y="5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11250B7D-67CA-EDBC-749C-494127644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525" y="6745288"/>
              <a:ext cx="915988" cy="915988"/>
            </a:xfrm>
            <a:custGeom>
              <a:avLst/>
              <a:gdLst>
                <a:gd name="T0" fmla="*/ 551 w 577"/>
                <a:gd name="T1" fmla="*/ 577 h 577"/>
                <a:gd name="T2" fmla="*/ 0 w 577"/>
                <a:gd name="T3" fmla="*/ 26 h 577"/>
                <a:gd name="T4" fmla="*/ 27 w 577"/>
                <a:gd name="T5" fmla="*/ 0 h 577"/>
                <a:gd name="T6" fmla="*/ 577 w 577"/>
                <a:gd name="T7" fmla="*/ 550 h 577"/>
                <a:gd name="T8" fmla="*/ 551 w 577"/>
                <a:gd name="T9" fmla="*/ 577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77">
                  <a:moveTo>
                    <a:pt x="551" y="577"/>
                  </a:moveTo>
                  <a:lnTo>
                    <a:pt x="0" y="26"/>
                  </a:lnTo>
                  <a:lnTo>
                    <a:pt x="27" y="0"/>
                  </a:lnTo>
                  <a:lnTo>
                    <a:pt x="577" y="550"/>
                  </a:lnTo>
                  <a:lnTo>
                    <a:pt x="551" y="57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5810FCF0-BDAC-6830-D65A-A8FE2597B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7238" y="6745288"/>
              <a:ext cx="915988" cy="915988"/>
            </a:xfrm>
            <a:custGeom>
              <a:avLst/>
              <a:gdLst>
                <a:gd name="T0" fmla="*/ 26 w 577"/>
                <a:gd name="T1" fmla="*/ 577 h 577"/>
                <a:gd name="T2" fmla="*/ 0 w 577"/>
                <a:gd name="T3" fmla="*/ 550 h 577"/>
                <a:gd name="T4" fmla="*/ 538 w 577"/>
                <a:gd name="T5" fmla="*/ 0 h 577"/>
                <a:gd name="T6" fmla="*/ 577 w 577"/>
                <a:gd name="T7" fmla="*/ 26 h 577"/>
                <a:gd name="T8" fmla="*/ 26 w 577"/>
                <a:gd name="T9" fmla="*/ 577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77">
                  <a:moveTo>
                    <a:pt x="26" y="577"/>
                  </a:moveTo>
                  <a:lnTo>
                    <a:pt x="0" y="550"/>
                  </a:lnTo>
                  <a:lnTo>
                    <a:pt x="538" y="0"/>
                  </a:lnTo>
                  <a:lnTo>
                    <a:pt x="577" y="26"/>
                  </a:lnTo>
                  <a:lnTo>
                    <a:pt x="26" y="57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80574A4-8B30-76A6-2453-7E799BBE6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2525" y="7618413"/>
              <a:ext cx="915988" cy="895350"/>
            </a:xfrm>
            <a:custGeom>
              <a:avLst/>
              <a:gdLst>
                <a:gd name="T0" fmla="*/ 27 w 577"/>
                <a:gd name="T1" fmla="*/ 564 h 564"/>
                <a:gd name="T2" fmla="*/ 0 w 577"/>
                <a:gd name="T3" fmla="*/ 538 h 564"/>
                <a:gd name="T4" fmla="*/ 551 w 577"/>
                <a:gd name="T5" fmla="*/ 0 h 564"/>
                <a:gd name="T6" fmla="*/ 577 w 577"/>
                <a:gd name="T7" fmla="*/ 27 h 564"/>
                <a:gd name="T8" fmla="*/ 27 w 577"/>
                <a:gd name="T9" fmla="*/ 56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564">
                  <a:moveTo>
                    <a:pt x="27" y="564"/>
                  </a:moveTo>
                  <a:lnTo>
                    <a:pt x="0" y="538"/>
                  </a:lnTo>
                  <a:lnTo>
                    <a:pt x="551" y="0"/>
                  </a:lnTo>
                  <a:lnTo>
                    <a:pt x="577" y="27"/>
                  </a:lnTo>
                  <a:lnTo>
                    <a:pt x="27" y="56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h-TH" sz="1677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C3C9DDB-69CA-6012-4ADA-5C41E6739A0F}"/>
              </a:ext>
            </a:extLst>
          </p:cNvPr>
          <p:cNvGrpSpPr/>
          <p:nvPr/>
        </p:nvGrpSpPr>
        <p:grpSpPr>
          <a:xfrm flipV="1">
            <a:off x="4440363" y="4604364"/>
            <a:ext cx="772336" cy="772335"/>
            <a:chOff x="8622743" y="3656822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8BA0FC6-C832-CB85-5352-E121D025410F}"/>
                </a:ext>
              </a:extLst>
            </p:cNvPr>
            <p:cNvSpPr/>
            <p:nvPr/>
          </p:nvSpPr>
          <p:spPr>
            <a:xfrm>
              <a:off x="8622743" y="3656822"/>
              <a:ext cx="507940" cy="50794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41" name="Star: 5 Points 8">
              <a:extLst>
                <a:ext uri="{FF2B5EF4-FFF2-40B4-BE49-F238E27FC236}">
                  <a16:creationId xmlns:a16="http://schemas.microsoft.com/office/drawing/2014/main" id="{B4D39887-6BBE-E775-4680-B04E69D471BB}"/>
                </a:ext>
              </a:extLst>
            </p:cNvPr>
            <p:cNvSpPr/>
            <p:nvPr/>
          </p:nvSpPr>
          <p:spPr>
            <a:xfrm>
              <a:off x="8743776" y="3775414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F01412-4EB8-EC2A-FF8C-A217BB40A116}"/>
              </a:ext>
            </a:extLst>
          </p:cNvPr>
          <p:cNvGrpSpPr/>
          <p:nvPr/>
        </p:nvGrpSpPr>
        <p:grpSpPr>
          <a:xfrm flipV="1">
            <a:off x="6973710" y="4604364"/>
            <a:ext cx="772336" cy="772335"/>
            <a:chOff x="5485521" y="5388923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7EDEF7A-409B-3C8B-D9BF-CA463B253EE1}"/>
                </a:ext>
              </a:extLst>
            </p:cNvPr>
            <p:cNvSpPr/>
            <p:nvPr/>
          </p:nvSpPr>
          <p:spPr>
            <a:xfrm>
              <a:off x="5485521" y="5388923"/>
              <a:ext cx="507940" cy="50794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9" name="Star: 5 Points 8">
              <a:extLst>
                <a:ext uri="{FF2B5EF4-FFF2-40B4-BE49-F238E27FC236}">
                  <a16:creationId xmlns:a16="http://schemas.microsoft.com/office/drawing/2014/main" id="{D315121E-07AE-6BD1-8AB4-EC536480B4F1}"/>
                </a:ext>
              </a:extLst>
            </p:cNvPr>
            <p:cNvSpPr/>
            <p:nvPr/>
          </p:nvSpPr>
          <p:spPr>
            <a:xfrm>
              <a:off x="5608546" y="5501466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B929565-4F3E-96DC-218F-51639B2190AC}"/>
              </a:ext>
            </a:extLst>
          </p:cNvPr>
          <p:cNvGrpSpPr/>
          <p:nvPr/>
        </p:nvGrpSpPr>
        <p:grpSpPr>
          <a:xfrm flipV="1">
            <a:off x="4440363" y="2107974"/>
            <a:ext cx="772336" cy="772335"/>
            <a:chOff x="2974262" y="4412485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EBBEB72-2750-5B5A-9950-8F3FC5C516DE}"/>
                </a:ext>
              </a:extLst>
            </p:cNvPr>
            <p:cNvSpPr/>
            <p:nvPr/>
          </p:nvSpPr>
          <p:spPr>
            <a:xfrm>
              <a:off x="2974262" y="4412485"/>
              <a:ext cx="507940" cy="50794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7" name="Star: 5 Points 8">
              <a:extLst>
                <a:ext uri="{FF2B5EF4-FFF2-40B4-BE49-F238E27FC236}">
                  <a16:creationId xmlns:a16="http://schemas.microsoft.com/office/drawing/2014/main" id="{F89FB491-60E6-1AFC-5B48-53420963DE47}"/>
                </a:ext>
              </a:extLst>
            </p:cNvPr>
            <p:cNvSpPr/>
            <p:nvPr/>
          </p:nvSpPr>
          <p:spPr>
            <a:xfrm>
              <a:off x="3095295" y="4538750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FFABBB4-E305-476D-1F5B-5A30AA53CAEC}"/>
              </a:ext>
            </a:extLst>
          </p:cNvPr>
          <p:cNvGrpSpPr/>
          <p:nvPr/>
        </p:nvGrpSpPr>
        <p:grpSpPr>
          <a:xfrm flipV="1">
            <a:off x="6973713" y="2080315"/>
            <a:ext cx="772336" cy="772335"/>
            <a:chOff x="5485523" y="5388921"/>
            <a:chExt cx="507940" cy="507941"/>
          </a:xfrm>
          <a:effectLst>
            <a:outerShdw blurRad="152400" dist="1143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C517681-31E2-0484-C648-366468105509}"/>
                </a:ext>
              </a:extLst>
            </p:cNvPr>
            <p:cNvSpPr/>
            <p:nvPr/>
          </p:nvSpPr>
          <p:spPr>
            <a:xfrm>
              <a:off x="5485523" y="5388921"/>
              <a:ext cx="507940" cy="50794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/>
            </a:p>
          </p:txBody>
        </p:sp>
        <p:sp>
          <p:nvSpPr>
            <p:cNvPr id="35" name="Star: 5 Points 8">
              <a:extLst>
                <a:ext uri="{FF2B5EF4-FFF2-40B4-BE49-F238E27FC236}">
                  <a16:creationId xmlns:a16="http://schemas.microsoft.com/office/drawing/2014/main" id="{7AAEA154-B553-96D2-CDFF-DA370DEB655F}"/>
                </a:ext>
              </a:extLst>
            </p:cNvPr>
            <p:cNvSpPr/>
            <p:nvPr/>
          </p:nvSpPr>
          <p:spPr>
            <a:xfrm>
              <a:off x="5608546" y="5501466"/>
              <a:ext cx="265866" cy="265866"/>
            </a:xfrm>
            <a:prstGeom prst="star5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sp>
        <p:nvSpPr>
          <p:cNvPr id="15" name="Shape1_20180321_132008">
            <a:extLst>
              <a:ext uri="{FF2B5EF4-FFF2-40B4-BE49-F238E27FC236}">
                <a16:creationId xmlns:a16="http://schemas.microsoft.com/office/drawing/2014/main" id="{841E5F4D-BE09-04E7-22F1-993E74270CF8}"/>
              </a:ext>
            </a:extLst>
          </p:cNvPr>
          <p:cNvSpPr txBox="1">
            <a:spLocks/>
          </p:cNvSpPr>
          <p:nvPr/>
        </p:nvSpPr>
        <p:spPr>
          <a:xfrm>
            <a:off x="8621867" y="425786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Shape2_20180321_132008">
            <a:extLst>
              <a:ext uri="{FF2B5EF4-FFF2-40B4-BE49-F238E27FC236}">
                <a16:creationId xmlns:a16="http://schemas.microsoft.com/office/drawing/2014/main" id="{92C6D0F8-CC3F-DBD4-1A03-9B996EC2260C}"/>
              </a:ext>
            </a:extLst>
          </p:cNvPr>
          <p:cNvSpPr txBox="1">
            <a:spLocks/>
          </p:cNvSpPr>
          <p:nvPr/>
        </p:nvSpPr>
        <p:spPr>
          <a:xfrm>
            <a:off x="1066520" y="425786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Shape3_20180321_132008">
            <a:extLst>
              <a:ext uri="{FF2B5EF4-FFF2-40B4-BE49-F238E27FC236}">
                <a16:creationId xmlns:a16="http://schemas.microsoft.com/office/drawing/2014/main" id="{AFDFE065-10CF-82F9-C0FA-DD6A294B997A}"/>
              </a:ext>
            </a:extLst>
          </p:cNvPr>
          <p:cNvSpPr txBox="1">
            <a:spLocks/>
          </p:cNvSpPr>
          <p:nvPr/>
        </p:nvSpPr>
        <p:spPr>
          <a:xfrm>
            <a:off x="8621867" y="208111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Shape0_20180321_132008">
            <a:extLst>
              <a:ext uri="{FF2B5EF4-FFF2-40B4-BE49-F238E27FC236}">
                <a16:creationId xmlns:a16="http://schemas.microsoft.com/office/drawing/2014/main" id="{1CD72850-3FEB-97AF-8EF7-3BC6338627F8}"/>
              </a:ext>
            </a:extLst>
          </p:cNvPr>
          <p:cNvSpPr txBox="1">
            <a:spLocks/>
          </p:cNvSpPr>
          <p:nvPr/>
        </p:nvSpPr>
        <p:spPr>
          <a:xfrm>
            <a:off x="1066520" y="2081114"/>
            <a:ext cx="2503614" cy="10259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TITLE GOES HERE</a:t>
            </a:r>
            <a:br>
              <a:rPr lang="en-US" sz="1400" b="1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>
                <a:solidFill>
                  <a:schemeClr val="tx1"/>
                </a:solidFill>
                <a:latin typeface="+mn-lt"/>
              </a:rPr>
              <a:t>Text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br>
              <a:rPr lang="en-US" sz="1100" dirty="0">
                <a:solidFill>
                  <a:schemeClr val="tx1"/>
                </a:solidFill>
                <a:latin typeface="+mn-lt"/>
              </a:rPr>
            </a:b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</a:rPr>
              <a:t>text</a:t>
            </a: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  <a:p>
            <a:pPr marL="0" indent="0" algn="r">
              <a:lnSpc>
                <a:spcPts val="1600"/>
              </a:lnSpc>
              <a:spcAft>
                <a:spcPts val="1200"/>
              </a:spcAft>
              <a:buNone/>
            </a:pPr>
            <a:endParaRPr lang="en-US" sz="11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5FF108D-8747-5174-A4C6-E737525D1199}"/>
              </a:ext>
            </a:extLst>
          </p:cNvPr>
          <p:cNvGrpSpPr/>
          <p:nvPr/>
        </p:nvGrpSpPr>
        <p:grpSpPr>
          <a:xfrm>
            <a:off x="7128638" y="4855661"/>
            <a:ext cx="497124" cy="335236"/>
            <a:chOff x="6716027" y="5411634"/>
            <a:chExt cx="583964" cy="393797"/>
          </a:xfrm>
          <a:solidFill>
            <a:schemeClr val="bg1"/>
          </a:solidFill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BFAEA40A-9CC2-F039-255B-F542CBD2A069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32931" y="5294730"/>
              <a:ext cx="350155" cy="583964"/>
            </a:xfrm>
            <a:custGeom>
              <a:avLst/>
              <a:gdLst>
                <a:gd name="T0" fmla="*/ 50 w 184"/>
                <a:gd name="T1" fmla="*/ 310 h 310"/>
                <a:gd name="T2" fmla="*/ 32 w 184"/>
                <a:gd name="T3" fmla="*/ 282 h 310"/>
                <a:gd name="T4" fmla="*/ 10 w 184"/>
                <a:gd name="T5" fmla="*/ 199 h 310"/>
                <a:gd name="T6" fmla="*/ 39 w 184"/>
                <a:gd name="T7" fmla="*/ 171 h 310"/>
                <a:gd name="T8" fmla="*/ 30 w 184"/>
                <a:gd name="T9" fmla="*/ 116 h 310"/>
                <a:gd name="T10" fmla="*/ 36 w 184"/>
                <a:gd name="T11" fmla="*/ 73 h 310"/>
                <a:gd name="T12" fmla="*/ 36 w 184"/>
                <a:gd name="T13" fmla="*/ 72 h 310"/>
                <a:gd name="T14" fmla="*/ 92 w 184"/>
                <a:gd name="T15" fmla="*/ 0 h 310"/>
                <a:gd name="T16" fmla="*/ 148 w 184"/>
                <a:gd name="T17" fmla="*/ 72 h 310"/>
                <a:gd name="T18" fmla="*/ 148 w 184"/>
                <a:gd name="T19" fmla="*/ 73 h 310"/>
                <a:gd name="T20" fmla="*/ 155 w 184"/>
                <a:gd name="T21" fmla="*/ 116 h 310"/>
                <a:gd name="T22" fmla="*/ 145 w 184"/>
                <a:gd name="T23" fmla="*/ 171 h 310"/>
                <a:gd name="T24" fmla="*/ 174 w 184"/>
                <a:gd name="T25" fmla="*/ 199 h 310"/>
                <a:gd name="T26" fmla="*/ 153 w 184"/>
                <a:gd name="T27" fmla="*/ 282 h 310"/>
                <a:gd name="T28" fmla="*/ 134 w 184"/>
                <a:gd name="T29" fmla="*/ 310 h 310"/>
                <a:gd name="T30" fmla="*/ 134 w 184"/>
                <a:gd name="T31" fmla="*/ 276 h 310"/>
                <a:gd name="T32" fmla="*/ 118 w 184"/>
                <a:gd name="T33" fmla="*/ 239 h 310"/>
                <a:gd name="T34" fmla="*/ 118 w 184"/>
                <a:gd name="T35" fmla="*/ 240 h 310"/>
                <a:gd name="T36" fmla="*/ 115 w 184"/>
                <a:gd name="T37" fmla="*/ 246 h 310"/>
                <a:gd name="T38" fmla="*/ 108 w 184"/>
                <a:gd name="T39" fmla="*/ 245 h 310"/>
                <a:gd name="T40" fmla="*/ 76 w 184"/>
                <a:gd name="T41" fmla="*/ 245 h 310"/>
                <a:gd name="T42" fmla="*/ 69 w 184"/>
                <a:gd name="T43" fmla="*/ 246 h 310"/>
                <a:gd name="T44" fmla="*/ 66 w 184"/>
                <a:gd name="T45" fmla="*/ 240 h 310"/>
                <a:gd name="T46" fmla="*/ 66 w 184"/>
                <a:gd name="T47" fmla="*/ 239 h 310"/>
                <a:gd name="T48" fmla="*/ 50 w 184"/>
                <a:gd name="T49" fmla="*/ 276 h 310"/>
                <a:gd name="T50" fmla="*/ 50 w 184"/>
                <a:gd name="T51" fmla="*/ 310 h 310"/>
                <a:gd name="T52" fmla="*/ 55 w 184"/>
                <a:gd name="T53" fmla="*/ 79 h 310"/>
                <a:gd name="T54" fmla="*/ 50 w 184"/>
                <a:gd name="T55" fmla="*/ 116 h 310"/>
                <a:gd name="T56" fmla="*/ 61 w 184"/>
                <a:gd name="T57" fmla="*/ 174 h 310"/>
                <a:gd name="T58" fmla="*/ 64 w 184"/>
                <a:gd name="T59" fmla="*/ 184 h 310"/>
                <a:gd name="T60" fmla="*/ 54 w 184"/>
                <a:gd name="T61" fmla="*/ 187 h 310"/>
                <a:gd name="T62" fmla="*/ 29 w 184"/>
                <a:gd name="T63" fmla="*/ 205 h 310"/>
                <a:gd name="T64" fmla="*/ 36 w 184"/>
                <a:gd name="T65" fmla="*/ 247 h 310"/>
                <a:gd name="T66" fmla="*/ 65 w 184"/>
                <a:gd name="T67" fmla="*/ 215 h 310"/>
                <a:gd name="T68" fmla="*/ 74 w 184"/>
                <a:gd name="T69" fmla="*/ 209 h 310"/>
                <a:gd name="T70" fmla="*/ 79 w 184"/>
                <a:gd name="T71" fmla="*/ 219 h 310"/>
                <a:gd name="T72" fmla="*/ 82 w 184"/>
                <a:gd name="T73" fmla="*/ 225 h 310"/>
                <a:gd name="T74" fmla="*/ 103 w 184"/>
                <a:gd name="T75" fmla="*/ 225 h 310"/>
                <a:gd name="T76" fmla="*/ 105 w 184"/>
                <a:gd name="T77" fmla="*/ 219 h 310"/>
                <a:gd name="T78" fmla="*/ 110 w 184"/>
                <a:gd name="T79" fmla="*/ 209 h 310"/>
                <a:gd name="T80" fmla="*/ 120 w 184"/>
                <a:gd name="T81" fmla="*/ 215 h 310"/>
                <a:gd name="T82" fmla="*/ 148 w 184"/>
                <a:gd name="T83" fmla="*/ 247 h 310"/>
                <a:gd name="T84" fmla="*/ 155 w 184"/>
                <a:gd name="T85" fmla="*/ 205 h 310"/>
                <a:gd name="T86" fmla="*/ 130 w 184"/>
                <a:gd name="T87" fmla="*/ 187 h 310"/>
                <a:gd name="T88" fmla="*/ 120 w 184"/>
                <a:gd name="T89" fmla="*/ 184 h 310"/>
                <a:gd name="T90" fmla="*/ 123 w 184"/>
                <a:gd name="T91" fmla="*/ 174 h 310"/>
                <a:gd name="T92" fmla="*/ 135 w 184"/>
                <a:gd name="T93" fmla="*/ 116 h 310"/>
                <a:gd name="T94" fmla="*/ 129 w 184"/>
                <a:gd name="T95" fmla="*/ 79 h 310"/>
                <a:gd name="T96" fmla="*/ 92 w 184"/>
                <a:gd name="T97" fmla="*/ 21 h 310"/>
                <a:gd name="T98" fmla="*/ 55 w 184"/>
                <a:gd name="T99" fmla="*/ 7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4" h="310">
                  <a:moveTo>
                    <a:pt x="50" y="310"/>
                  </a:moveTo>
                  <a:cubicBezTo>
                    <a:pt x="32" y="282"/>
                    <a:pt x="32" y="282"/>
                    <a:pt x="32" y="282"/>
                  </a:cubicBezTo>
                  <a:cubicBezTo>
                    <a:pt x="28" y="276"/>
                    <a:pt x="0" y="230"/>
                    <a:pt x="10" y="199"/>
                  </a:cubicBezTo>
                  <a:cubicBezTo>
                    <a:pt x="14" y="187"/>
                    <a:pt x="24" y="178"/>
                    <a:pt x="39" y="171"/>
                  </a:cubicBezTo>
                  <a:cubicBezTo>
                    <a:pt x="33" y="151"/>
                    <a:pt x="30" y="132"/>
                    <a:pt x="30" y="116"/>
                  </a:cubicBezTo>
                  <a:cubicBezTo>
                    <a:pt x="30" y="102"/>
                    <a:pt x="32" y="87"/>
                    <a:pt x="36" y="73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0" y="35"/>
                    <a:pt x="77" y="0"/>
                    <a:pt x="92" y="0"/>
                  </a:cubicBezTo>
                  <a:cubicBezTo>
                    <a:pt x="107" y="0"/>
                    <a:pt x="134" y="35"/>
                    <a:pt x="148" y="72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52" y="87"/>
                    <a:pt x="155" y="102"/>
                    <a:pt x="155" y="116"/>
                  </a:cubicBezTo>
                  <a:cubicBezTo>
                    <a:pt x="155" y="132"/>
                    <a:pt x="152" y="151"/>
                    <a:pt x="145" y="171"/>
                  </a:cubicBezTo>
                  <a:cubicBezTo>
                    <a:pt x="160" y="178"/>
                    <a:pt x="170" y="187"/>
                    <a:pt x="174" y="199"/>
                  </a:cubicBezTo>
                  <a:cubicBezTo>
                    <a:pt x="184" y="230"/>
                    <a:pt x="156" y="276"/>
                    <a:pt x="153" y="282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4" y="276"/>
                    <a:pt x="134" y="276"/>
                    <a:pt x="134" y="276"/>
                  </a:cubicBezTo>
                  <a:cubicBezTo>
                    <a:pt x="134" y="262"/>
                    <a:pt x="128" y="248"/>
                    <a:pt x="118" y="239"/>
                  </a:cubicBezTo>
                  <a:cubicBezTo>
                    <a:pt x="118" y="239"/>
                    <a:pt x="118" y="239"/>
                    <a:pt x="118" y="240"/>
                  </a:cubicBezTo>
                  <a:cubicBezTo>
                    <a:pt x="115" y="246"/>
                    <a:pt x="115" y="246"/>
                    <a:pt x="115" y="246"/>
                  </a:cubicBezTo>
                  <a:cubicBezTo>
                    <a:pt x="108" y="245"/>
                    <a:pt x="108" y="245"/>
                    <a:pt x="108" y="245"/>
                  </a:cubicBezTo>
                  <a:cubicBezTo>
                    <a:pt x="98" y="245"/>
                    <a:pt x="87" y="245"/>
                    <a:pt x="76" y="245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56" y="249"/>
                    <a:pt x="50" y="262"/>
                    <a:pt x="50" y="276"/>
                  </a:cubicBezTo>
                  <a:lnTo>
                    <a:pt x="50" y="310"/>
                  </a:lnTo>
                  <a:close/>
                  <a:moveTo>
                    <a:pt x="55" y="79"/>
                  </a:moveTo>
                  <a:cubicBezTo>
                    <a:pt x="52" y="91"/>
                    <a:pt x="50" y="104"/>
                    <a:pt x="50" y="116"/>
                  </a:cubicBezTo>
                  <a:cubicBezTo>
                    <a:pt x="50" y="132"/>
                    <a:pt x="53" y="152"/>
                    <a:pt x="61" y="17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45" y="190"/>
                    <a:pt x="33" y="196"/>
                    <a:pt x="29" y="205"/>
                  </a:cubicBezTo>
                  <a:cubicBezTo>
                    <a:pt x="26" y="216"/>
                    <a:pt x="30" y="233"/>
                    <a:pt x="36" y="247"/>
                  </a:cubicBezTo>
                  <a:cubicBezTo>
                    <a:pt x="42" y="234"/>
                    <a:pt x="52" y="223"/>
                    <a:pt x="65" y="215"/>
                  </a:cubicBezTo>
                  <a:cubicBezTo>
                    <a:pt x="74" y="209"/>
                    <a:pt x="74" y="209"/>
                    <a:pt x="74" y="20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80" y="221"/>
                    <a:pt x="81" y="223"/>
                    <a:pt x="82" y="225"/>
                  </a:cubicBezTo>
                  <a:cubicBezTo>
                    <a:pt x="89" y="225"/>
                    <a:pt x="96" y="225"/>
                    <a:pt x="103" y="225"/>
                  </a:cubicBezTo>
                  <a:cubicBezTo>
                    <a:pt x="104" y="223"/>
                    <a:pt x="105" y="221"/>
                    <a:pt x="105" y="219"/>
                  </a:cubicBezTo>
                  <a:cubicBezTo>
                    <a:pt x="110" y="209"/>
                    <a:pt x="110" y="209"/>
                    <a:pt x="110" y="209"/>
                  </a:cubicBezTo>
                  <a:cubicBezTo>
                    <a:pt x="120" y="215"/>
                    <a:pt x="120" y="215"/>
                    <a:pt x="120" y="215"/>
                  </a:cubicBezTo>
                  <a:cubicBezTo>
                    <a:pt x="133" y="223"/>
                    <a:pt x="142" y="234"/>
                    <a:pt x="148" y="247"/>
                  </a:cubicBezTo>
                  <a:cubicBezTo>
                    <a:pt x="154" y="233"/>
                    <a:pt x="159" y="216"/>
                    <a:pt x="155" y="205"/>
                  </a:cubicBezTo>
                  <a:cubicBezTo>
                    <a:pt x="152" y="196"/>
                    <a:pt x="140" y="190"/>
                    <a:pt x="130" y="187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31" y="152"/>
                    <a:pt x="135" y="132"/>
                    <a:pt x="135" y="116"/>
                  </a:cubicBezTo>
                  <a:cubicBezTo>
                    <a:pt x="135" y="104"/>
                    <a:pt x="133" y="91"/>
                    <a:pt x="129" y="79"/>
                  </a:cubicBezTo>
                  <a:cubicBezTo>
                    <a:pt x="117" y="47"/>
                    <a:pt x="99" y="26"/>
                    <a:pt x="92" y="21"/>
                  </a:cubicBezTo>
                  <a:cubicBezTo>
                    <a:pt x="85" y="26"/>
                    <a:pt x="67" y="47"/>
                    <a:pt x="5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EF45A0FE-22C5-47C0-2770-93093F873B6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989613" y="5483631"/>
              <a:ext cx="121724" cy="12011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2 h 64"/>
                <a:gd name="T12" fmla="*/ 12 w 64"/>
                <a:gd name="T13" fmla="*/ 32 h 64"/>
                <a:gd name="T14" fmla="*/ 32 w 64"/>
                <a:gd name="T15" fmla="*/ 52 h 64"/>
                <a:gd name="T16" fmla="*/ 52 w 64"/>
                <a:gd name="T17" fmla="*/ 32 h 64"/>
                <a:gd name="T18" fmla="*/ 32 w 64"/>
                <a:gd name="T19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2"/>
                  </a:moveTo>
                  <a:cubicBezTo>
                    <a:pt x="21" y="12"/>
                    <a:pt x="12" y="21"/>
                    <a:pt x="12" y="32"/>
                  </a:cubicBezTo>
                  <a:cubicBezTo>
                    <a:pt x="12" y="43"/>
                    <a:pt x="21" y="52"/>
                    <a:pt x="32" y="52"/>
                  </a:cubicBezTo>
                  <a:cubicBezTo>
                    <a:pt x="43" y="52"/>
                    <a:pt x="52" y="43"/>
                    <a:pt x="52" y="32"/>
                  </a:cubicBezTo>
                  <a:cubicBezTo>
                    <a:pt x="52" y="21"/>
                    <a:pt x="43" y="12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7BB30320-E1B0-D89E-FFFB-A6F2F3507A1C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790966" y="5660018"/>
              <a:ext cx="112239" cy="178587"/>
            </a:xfrm>
            <a:custGeom>
              <a:avLst/>
              <a:gdLst>
                <a:gd name="T0" fmla="*/ 29 w 59"/>
                <a:gd name="T1" fmla="*/ 95 h 95"/>
                <a:gd name="T2" fmla="*/ 24 w 59"/>
                <a:gd name="T3" fmla="*/ 85 h 95"/>
                <a:gd name="T4" fmla="*/ 0 w 59"/>
                <a:gd name="T5" fmla="*/ 26 h 95"/>
                <a:gd name="T6" fmla="*/ 29 w 59"/>
                <a:gd name="T7" fmla="*/ 0 h 95"/>
                <a:gd name="T8" fmla="*/ 59 w 59"/>
                <a:gd name="T9" fmla="*/ 26 h 95"/>
                <a:gd name="T10" fmla="*/ 34 w 59"/>
                <a:gd name="T11" fmla="*/ 85 h 95"/>
                <a:gd name="T12" fmla="*/ 29 w 59"/>
                <a:gd name="T13" fmla="*/ 95 h 95"/>
                <a:gd name="T14" fmla="*/ 29 w 59"/>
                <a:gd name="T15" fmla="*/ 12 h 95"/>
                <a:gd name="T16" fmla="*/ 12 w 59"/>
                <a:gd name="T17" fmla="*/ 26 h 95"/>
                <a:gd name="T18" fmla="*/ 29 w 59"/>
                <a:gd name="T19" fmla="*/ 69 h 95"/>
                <a:gd name="T20" fmla="*/ 47 w 59"/>
                <a:gd name="T21" fmla="*/ 26 h 95"/>
                <a:gd name="T22" fmla="*/ 29 w 59"/>
                <a:gd name="T23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95">
                  <a:moveTo>
                    <a:pt x="29" y="9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0" y="77"/>
                    <a:pt x="0" y="38"/>
                    <a:pt x="0" y="26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9" y="12"/>
                    <a:pt x="59" y="26"/>
                  </a:cubicBezTo>
                  <a:cubicBezTo>
                    <a:pt x="59" y="38"/>
                    <a:pt x="39" y="77"/>
                    <a:pt x="34" y="85"/>
                  </a:cubicBezTo>
                  <a:lnTo>
                    <a:pt x="29" y="95"/>
                  </a:lnTo>
                  <a:close/>
                  <a:moveTo>
                    <a:pt x="29" y="12"/>
                  </a:moveTo>
                  <a:cubicBezTo>
                    <a:pt x="19" y="12"/>
                    <a:pt x="12" y="18"/>
                    <a:pt x="12" y="26"/>
                  </a:cubicBezTo>
                  <a:cubicBezTo>
                    <a:pt x="12" y="31"/>
                    <a:pt x="20" y="50"/>
                    <a:pt x="29" y="69"/>
                  </a:cubicBezTo>
                  <a:cubicBezTo>
                    <a:pt x="38" y="50"/>
                    <a:pt x="47" y="31"/>
                    <a:pt x="47" y="26"/>
                  </a:cubicBezTo>
                  <a:cubicBezTo>
                    <a:pt x="47" y="18"/>
                    <a:pt x="39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AA005CD-6816-4584-0150-1453D45003BE}"/>
              </a:ext>
            </a:extLst>
          </p:cNvPr>
          <p:cNvGrpSpPr>
            <a:grpSpLocks noChangeAspect="1"/>
          </p:cNvGrpSpPr>
          <p:nvPr/>
        </p:nvGrpSpPr>
        <p:grpSpPr>
          <a:xfrm>
            <a:off x="7189267" y="2235753"/>
            <a:ext cx="327210" cy="522210"/>
            <a:chOff x="6513513" y="557213"/>
            <a:chExt cx="471488" cy="752475"/>
          </a:xfrm>
          <a:solidFill>
            <a:schemeClr val="bg1"/>
          </a:solidFill>
        </p:grpSpPr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17720D73-92F0-1A0F-DE28-8172251971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3513" y="557213"/>
              <a:ext cx="471488" cy="752475"/>
            </a:xfrm>
            <a:custGeom>
              <a:avLst/>
              <a:gdLst>
                <a:gd name="T0" fmla="*/ 80 w 160"/>
                <a:gd name="T1" fmla="*/ 0 h 256"/>
                <a:gd name="T2" fmla="*/ 11 w 160"/>
                <a:gd name="T3" fmla="*/ 120 h 256"/>
                <a:gd name="T4" fmla="*/ 42 w 160"/>
                <a:gd name="T5" fmla="*/ 179 h 256"/>
                <a:gd name="T6" fmla="*/ 49 w 160"/>
                <a:gd name="T7" fmla="*/ 187 h 256"/>
                <a:gd name="T8" fmla="*/ 48 w 160"/>
                <a:gd name="T9" fmla="*/ 208 h 256"/>
                <a:gd name="T10" fmla="*/ 52 w 160"/>
                <a:gd name="T11" fmla="*/ 231 h 256"/>
                <a:gd name="T12" fmla="*/ 108 w 160"/>
                <a:gd name="T13" fmla="*/ 231 h 256"/>
                <a:gd name="T14" fmla="*/ 112 w 160"/>
                <a:gd name="T15" fmla="*/ 208 h 256"/>
                <a:gd name="T16" fmla="*/ 110 w 160"/>
                <a:gd name="T17" fmla="*/ 187 h 256"/>
                <a:gd name="T18" fmla="*/ 118 w 160"/>
                <a:gd name="T19" fmla="*/ 179 h 256"/>
                <a:gd name="T20" fmla="*/ 149 w 160"/>
                <a:gd name="T21" fmla="*/ 120 h 256"/>
                <a:gd name="T22" fmla="*/ 80 w 160"/>
                <a:gd name="T23" fmla="*/ 248 h 256"/>
                <a:gd name="T24" fmla="*/ 99 w 160"/>
                <a:gd name="T25" fmla="*/ 232 h 256"/>
                <a:gd name="T26" fmla="*/ 108 w 160"/>
                <a:gd name="T27" fmla="*/ 218 h 256"/>
                <a:gd name="T28" fmla="*/ 58 w 160"/>
                <a:gd name="T29" fmla="*/ 224 h 256"/>
                <a:gd name="T30" fmla="*/ 58 w 160"/>
                <a:gd name="T31" fmla="*/ 212 h 256"/>
                <a:gd name="T32" fmla="*/ 108 w 160"/>
                <a:gd name="T33" fmla="*/ 218 h 256"/>
                <a:gd name="T34" fmla="*/ 108 w 160"/>
                <a:gd name="T35" fmla="*/ 198 h 256"/>
                <a:gd name="T36" fmla="*/ 58 w 160"/>
                <a:gd name="T37" fmla="*/ 204 h 256"/>
                <a:gd name="T38" fmla="*/ 58 w 160"/>
                <a:gd name="T39" fmla="*/ 192 h 256"/>
                <a:gd name="T40" fmla="*/ 96 w 160"/>
                <a:gd name="T41" fmla="*/ 192 h 256"/>
                <a:gd name="T42" fmla="*/ 135 w 160"/>
                <a:gd name="T43" fmla="*/ 112 h 256"/>
                <a:gd name="T44" fmla="*/ 104 w 160"/>
                <a:gd name="T45" fmla="*/ 170 h 256"/>
                <a:gd name="T46" fmla="*/ 96 w 160"/>
                <a:gd name="T47" fmla="*/ 176 h 256"/>
                <a:gd name="T48" fmla="*/ 96 w 160"/>
                <a:gd name="T49" fmla="*/ 124 h 256"/>
                <a:gd name="T50" fmla="*/ 88 w 160"/>
                <a:gd name="T51" fmla="*/ 176 h 256"/>
                <a:gd name="T52" fmla="*/ 68 w 160"/>
                <a:gd name="T53" fmla="*/ 128 h 256"/>
                <a:gd name="T54" fmla="*/ 60 w 160"/>
                <a:gd name="T55" fmla="*/ 129 h 256"/>
                <a:gd name="T56" fmla="*/ 57 w 160"/>
                <a:gd name="T57" fmla="*/ 172 h 256"/>
                <a:gd name="T58" fmla="*/ 26 w 160"/>
                <a:gd name="T59" fmla="*/ 114 h 256"/>
                <a:gd name="T60" fmla="*/ 16 w 160"/>
                <a:gd name="T61" fmla="*/ 80 h 256"/>
                <a:gd name="T62" fmla="*/ 144 w 160"/>
                <a:gd name="T63" fmla="*/ 8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56">
                  <a:moveTo>
                    <a:pt x="160" y="80"/>
                  </a:moveTo>
                  <a:cubicBezTo>
                    <a:pt x="160" y="36"/>
                    <a:pt x="124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95"/>
                    <a:pt x="4" y="109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2" y="179"/>
                    <a:pt x="42" y="179"/>
                    <a:pt x="42" y="179"/>
                  </a:cubicBezTo>
                  <a:cubicBezTo>
                    <a:pt x="44" y="182"/>
                    <a:pt x="46" y="185"/>
                    <a:pt x="49" y="187"/>
                  </a:cubicBezTo>
                  <a:cubicBezTo>
                    <a:pt x="46" y="190"/>
                    <a:pt x="44" y="194"/>
                    <a:pt x="44" y="198"/>
                  </a:cubicBezTo>
                  <a:cubicBezTo>
                    <a:pt x="44" y="202"/>
                    <a:pt x="46" y="206"/>
                    <a:pt x="48" y="208"/>
                  </a:cubicBezTo>
                  <a:cubicBezTo>
                    <a:pt x="46" y="211"/>
                    <a:pt x="44" y="214"/>
                    <a:pt x="44" y="218"/>
                  </a:cubicBezTo>
                  <a:cubicBezTo>
                    <a:pt x="44" y="224"/>
                    <a:pt x="47" y="229"/>
                    <a:pt x="52" y="231"/>
                  </a:cubicBezTo>
                  <a:cubicBezTo>
                    <a:pt x="53" y="245"/>
                    <a:pt x="65" y="256"/>
                    <a:pt x="80" y="256"/>
                  </a:cubicBezTo>
                  <a:cubicBezTo>
                    <a:pt x="94" y="256"/>
                    <a:pt x="106" y="245"/>
                    <a:pt x="108" y="231"/>
                  </a:cubicBezTo>
                  <a:cubicBezTo>
                    <a:pt x="112" y="229"/>
                    <a:pt x="116" y="224"/>
                    <a:pt x="116" y="218"/>
                  </a:cubicBezTo>
                  <a:cubicBezTo>
                    <a:pt x="116" y="214"/>
                    <a:pt x="114" y="211"/>
                    <a:pt x="112" y="208"/>
                  </a:cubicBezTo>
                  <a:cubicBezTo>
                    <a:pt x="114" y="206"/>
                    <a:pt x="116" y="202"/>
                    <a:pt x="116" y="198"/>
                  </a:cubicBezTo>
                  <a:cubicBezTo>
                    <a:pt x="116" y="194"/>
                    <a:pt x="114" y="190"/>
                    <a:pt x="110" y="187"/>
                  </a:cubicBezTo>
                  <a:cubicBezTo>
                    <a:pt x="113" y="185"/>
                    <a:pt x="116" y="182"/>
                    <a:pt x="118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6" y="109"/>
                    <a:pt x="160" y="95"/>
                    <a:pt x="160" y="80"/>
                  </a:cubicBezTo>
                  <a:close/>
                  <a:moveTo>
                    <a:pt x="80" y="248"/>
                  </a:moveTo>
                  <a:cubicBezTo>
                    <a:pt x="70" y="248"/>
                    <a:pt x="62" y="241"/>
                    <a:pt x="60" y="232"/>
                  </a:cubicBezTo>
                  <a:cubicBezTo>
                    <a:pt x="99" y="232"/>
                    <a:pt x="99" y="232"/>
                    <a:pt x="99" y="232"/>
                  </a:cubicBezTo>
                  <a:cubicBezTo>
                    <a:pt x="97" y="241"/>
                    <a:pt x="89" y="248"/>
                    <a:pt x="80" y="248"/>
                  </a:cubicBezTo>
                  <a:close/>
                  <a:moveTo>
                    <a:pt x="108" y="218"/>
                  </a:moveTo>
                  <a:cubicBezTo>
                    <a:pt x="108" y="222"/>
                    <a:pt x="105" y="224"/>
                    <a:pt x="102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5" y="224"/>
                    <a:pt x="52" y="222"/>
                    <a:pt x="52" y="218"/>
                  </a:cubicBezTo>
                  <a:cubicBezTo>
                    <a:pt x="52" y="215"/>
                    <a:pt x="55" y="212"/>
                    <a:pt x="58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05" y="212"/>
                    <a:pt x="108" y="215"/>
                    <a:pt x="108" y="218"/>
                  </a:cubicBezTo>
                  <a:close/>
                  <a:moveTo>
                    <a:pt x="102" y="192"/>
                  </a:moveTo>
                  <a:cubicBezTo>
                    <a:pt x="105" y="192"/>
                    <a:pt x="108" y="195"/>
                    <a:pt x="108" y="198"/>
                  </a:cubicBezTo>
                  <a:cubicBezTo>
                    <a:pt x="108" y="202"/>
                    <a:pt x="105" y="204"/>
                    <a:pt x="102" y="204"/>
                  </a:cubicBezTo>
                  <a:cubicBezTo>
                    <a:pt x="58" y="204"/>
                    <a:pt x="58" y="204"/>
                    <a:pt x="58" y="204"/>
                  </a:cubicBezTo>
                  <a:cubicBezTo>
                    <a:pt x="55" y="204"/>
                    <a:pt x="52" y="202"/>
                    <a:pt x="52" y="198"/>
                  </a:cubicBezTo>
                  <a:cubicBezTo>
                    <a:pt x="52" y="195"/>
                    <a:pt x="55" y="192"/>
                    <a:pt x="58" y="19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96" y="192"/>
                    <a:pt x="96" y="192"/>
                    <a:pt x="96" y="192"/>
                  </a:cubicBezTo>
                  <a:lnTo>
                    <a:pt x="102" y="192"/>
                  </a:lnTo>
                  <a:close/>
                  <a:moveTo>
                    <a:pt x="135" y="112"/>
                  </a:moveTo>
                  <a:cubicBezTo>
                    <a:pt x="135" y="113"/>
                    <a:pt x="135" y="114"/>
                    <a:pt x="134" y="114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4" y="170"/>
                    <a:pt x="103" y="171"/>
                    <a:pt x="103" y="172"/>
                  </a:cubicBezTo>
                  <a:cubicBezTo>
                    <a:pt x="102" y="174"/>
                    <a:pt x="100" y="176"/>
                    <a:pt x="96" y="176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6"/>
                    <a:pt x="98" y="124"/>
                    <a:pt x="96" y="124"/>
                  </a:cubicBezTo>
                  <a:cubicBezTo>
                    <a:pt x="94" y="124"/>
                    <a:pt x="92" y="126"/>
                    <a:pt x="92" y="128"/>
                  </a:cubicBezTo>
                  <a:cubicBezTo>
                    <a:pt x="88" y="176"/>
                    <a:pt x="88" y="176"/>
                    <a:pt x="88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6"/>
                    <a:pt x="66" y="124"/>
                    <a:pt x="64" y="124"/>
                  </a:cubicBezTo>
                  <a:cubicBezTo>
                    <a:pt x="61" y="124"/>
                    <a:pt x="60" y="126"/>
                    <a:pt x="60" y="129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0" y="176"/>
                    <a:pt x="58" y="174"/>
                    <a:pt x="57" y="172"/>
                  </a:cubicBezTo>
                  <a:cubicBezTo>
                    <a:pt x="56" y="171"/>
                    <a:pt x="56" y="171"/>
                    <a:pt x="56" y="170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5" y="114"/>
                    <a:pt x="25" y="113"/>
                    <a:pt x="25" y="112"/>
                  </a:cubicBezTo>
                  <a:cubicBezTo>
                    <a:pt x="19" y="103"/>
                    <a:pt x="16" y="91"/>
                    <a:pt x="16" y="80"/>
                  </a:cubicBezTo>
                  <a:cubicBezTo>
                    <a:pt x="16" y="45"/>
                    <a:pt x="45" y="16"/>
                    <a:pt x="80" y="16"/>
                  </a:cubicBezTo>
                  <a:cubicBezTo>
                    <a:pt x="115" y="16"/>
                    <a:pt x="144" y="45"/>
                    <a:pt x="144" y="80"/>
                  </a:cubicBezTo>
                  <a:cubicBezTo>
                    <a:pt x="144" y="91"/>
                    <a:pt x="141" y="103"/>
                    <a:pt x="1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B366FD68-5C1A-AAA1-566B-6B2153FF9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3" y="642938"/>
              <a:ext cx="120650" cy="103188"/>
            </a:xfrm>
            <a:custGeom>
              <a:avLst/>
              <a:gdLst>
                <a:gd name="T0" fmla="*/ 35 w 41"/>
                <a:gd name="T1" fmla="*/ 1 h 35"/>
                <a:gd name="T2" fmla="*/ 1 w 41"/>
                <a:gd name="T3" fmla="*/ 29 h 35"/>
                <a:gd name="T4" fmla="*/ 3 w 41"/>
                <a:gd name="T5" fmla="*/ 35 h 35"/>
                <a:gd name="T6" fmla="*/ 4 w 41"/>
                <a:gd name="T7" fmla="*/ 35 h 35"/>
                <a:gd name="T8" fmla="*/ 8 w 41"/>
                <a:gd name="T9" fmla="*/ 33 h 35"/>
                <a:gd name="T10" fmla="*/ 37 w 41"/>
                <a:gd name="T11" fmla="*/ 9 h 35"/>
                <a:gd name="T12" fmla="*/ 40 w 41"/>
                <a:gd name="T13" fmla="*/ 4 h 35"/>
                <a:gd name="T14" fmla="*/ 35 w 41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5">
                  <a:moveTo>
                    <a:pt x="35" y="1"/>
                  </a:moveTo>
                  <a:cubicBezTo>
                    <a:pt x="20" y="5"/>
                    <a:pt x="7" y="15"/>
                    <a:pt x="1" y="29"/>
                  </a:cubicBezTo>
                  <a:cubicBezTo>
                    <a:pt x="0" y="31"/>
                    <a:pt x="1" y="34"/>
                    <a:pt x="3" y="35"/>
                  </a:cubicBezTo>
                  <a:cubicBezTo>
                    <a:pt x="3" y="35"/>
                    <a:pt x="4" y="35"/>
                    <a:pt x="4" y="35"/>
                  </a:cubicBezTo>
                  <a:cubicBezTo>
                    <a:pt x="6" y="35"/>
                    <a:pt x="7" y="34"/>
                    <a:pt x="8" y="33"/>
                  </a:cubicBezTo>
                  <a:cubicBezTo>
                    <a:pt x="14" y="21"/>
                    <a:pt x="24" y="12"/>
                    <a:pt x="37" y="9"/>
                  </a:cubicBezTo>
                  <a:cubicBezTo>
                    <a:pt x="39" y="8"/>
                    <a:pt x="41" y="6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/>
            </a:p>
          </p:txBody>
        </p:sp>
      </p:grpSp>
      <p:sp>
        <p:nvSpPr>
          <p:cNvPr id="21" name="Freeform 23">
            <a:extLst>
              <a:ext uri="{FF2B5EF4-FFF2-40B4-BE49-F238E27FC236}">
                <a16:creationId xmlns:a16="http://schemas.microsoft.com/office/drawing/2014/main" id="{DE051BE7-9740-DBD0-E988-23AC8194042A}"/>
              </a:ext>
            </a:extLst>
          </p:cNvPr>
          <p:cNvSpPr>
            <a:spLocks noEditPoints="1"/>
          </p:cNvSpPr>
          <p:nvPr/>
        </p:nvSpPr>
        <p:spPr bwMode="auto">
          <a:xfrm>
            <a:off x="4607525" y="4798686"/>
            <a:ext cx="441366" cy="390872"/>
          </a:xfrm>
          <a:custGeom>
            <a:avLst/>
            <a:gdLst>
              <a:gd name="T0" fmla="*/ 232 w 256"/>
              <a:gd name="T1" fmla="*/ 84 h 227"/>
              <a:gd name="T2" fmla="*/ 172 w 256"/>
              <a:gd name="T3" fmla="*/ 44 h 227"/>
              <a:gd name="T4" fmla="*/ 120 w 256"/>
              <a:gd name="T5" fmla="*/ 48 h 227"/>
              <a:gd name="T6" fmla="*/ 64 w 256"/>
              <a:gd name="T7" fmla="*/ 107 h 227"/>
              <a:gd name="T8" fmla="*/ 0 w 256"/>
              <a:gd name="T9" fmla="*/ 131 h 227"/>
              <a:gd name="T10" fmla="*/ 32 w 256"/>
              <a:gd name="T11" fmla="*/ 227 h 227"/>
              <a:gd name="T12" fmla="*/ 87 w 256"/>
              <a:gd name="T13" fmla="*/ 212 h 227"/>
              <a:gd name="T14" fmla="*/ 103 w 256"/>
              <a:gd name="T15" fmla="*/ 219 h 227"/>
              <a:gd name="T16" fmla="*/ 232 w 256"/>
              <a:gd name="T17" fmla="*/ 197 h 227"/>
              <a:gd name="T18" fmla="*/ 240 w 256"/>
              <a:gd name="T19" fmla="*/ 169 h 227"/>
              <a:gd name="T20" fmla="*/ 248 w 256"/>
              <a:gd name="T21" fmla="*/ 140 h 227"/>
              <a:gd name="T22" fmla="*/ 256 w 256"/>
              <a:gd name="T23" fmla="*/ 108 h 227"/>
              <a:gd name="T24" fmla="*/ 32 w 256"/>
              <a:gd name="T25" fmla="*/ 211 h 227"/>
              <a:gd name="T26" fmla="*/ 16 w 256"/>
              <a:gd name="T27" fmla="*/ 131 h 227"/>
              <a:gd name="T28" fmla="*/ 64 w 256"/>
              <a:gd name="T29" fmla="*/ 123 h 227"/>
              <a:gd name="T30" fmla="*/ 72 w 256"/>
              <a:gd name="T31" fmla="*/ 198 h 227"/>
              <a:gd name="T32" fmla="*/ 72 w 256"/>
              <a:gd name="T33" fmla="*/ 203 h 227"/>
              <a:gd name="T34" fmla="*/ 210 w 256"/>
              <a:gd name="T35" fmla="*/ 203 h 227"/>
              <a:gd name="T36" fmla="*/ 88 w 256"/>
              <a:gd name="T37" fmla="*/ 194 h 227"/>
              <a:gd name="T38" fmla="*/ 86 w 256"/>
              <a:gd name="T39" fmla="*/ 121 h 227"/>
              <a:gd name="T40" fmla="*/ 140 w 256"/>
              <a:gd name="T41" fmla="*/ 16 h 227"/>
              <a:gd name="T42" fmla="*/ 152 w 256"/>
              <a:gd name="T43" fmla="*/ 90 h 227"/>
              <a:gd name="T44" fmla="*/ 160 w 256"/>
              <a:gd name="T45" fmla="*/ 100 h 227"/>
              <a:gd name="T46" fmla="*/ 240 w 256"/>
              <a:gd name="T47" fmla="*/ 108 h 227"/>
              <a:gd name="T48" fmla="*/ 223 w 256"/>
              <a:gd name="T49" fmla="*/ 116 h 227"/>
              <a:gd name="T50" fmla="*/ 223 w 256"/>
              <a:gd name="T51" fmla="*/ 132 h 227"/>
              <a:gd name="T52" fmla="*/ 224 w 256"/>
              <a:gd name="T53" fmla="*/ 132 h 227"/>
              <a:gd name="T54" fmla="*/ 224 w 256"/>
              <a:gd name="T55" fmla="*/ 148 h 227"/>
              <a:gd name="T56" fmla="*/ 218 w 256"/>
              <a:gd name="T57" fmla="*/ 147 h 227"/>
              <a:gd name="T58" fmla="*/ 215 w 256"/>
              <a:gd name="T59" fmla="*/ 148 h 227"/>
              <a:gd name="T60" fmla="*/ 215 w 256"/>
              <a:gd name="T61" fmla="*/ 164 h 227"/>
              <a:gd name="T62" fmla="*/ 224 w 256"/>
              <a:gd name="T63" fmla="*/ 169 h 227"/>
              <a:gd name="T64" fmla="*/ 210 w 256"/>
              <a:gd name="T65" fmla="*/ 175 h 227"/>
              <a:gd name="T66" fmla="*/ 210 w 256"/>
              <a:gd name="T67" fmla="*/ 175 h 227"/>
              <a:gd name="T68" fmla="*/ 210 w 256"/>
              <a:gd name="T69" fmla="*/ 191 h 227"/>
              <a:gd name="T70" fmla="*/ 210 w 256"/>
              <a:gd name="T71" fmla="*/ 20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6" h="227">
                <a:moveTo>
                  <a:pt x="256" y="108"/>
                </a:moveTo>
                <a:cubicBezTo>
                  <a:pt x="256" y="94"/>
                  <a:pt x="245" y="84"/>
                  <a:pt x="232" y="84"/>
                </a:cubicBezTo>
                <a:cubicBezTo>
                  <a:pt x="169" y="84"/>
                  <a:pt x="169" y="84"/>
                  <a:pt x="169" y="84"/>
                </a:cubicBezTo>
                <a:cubicBezTo>
                  <a:pt x="171" y="74"/>
                  <a:pt x="172" y="59"/>
                  <a:pt x="172" y="44"/>
                </a:cubicBezTo>
                <a:cubicBezTo>
                  <a:pt x="172" y="13"/>
                  <a:pt x="156" y="0"/>
                  <a:pt x="140" y="0"/>
                </a:cubicBezTo>
                <a:cubicBezTo>
                  <a:pt x="120" y="0"/>
                  <a:pt x="120" y="21"/>
                  <a:pt x="120" y="48"/>
                </a:cubicBezTo>
                <a:cubicBezTo>
                  <a:pt x="120" y="67"/>
                  <a:pt x="90" y="97"/>
                  <a:pt x="75" y="110"/>
                </a:cubicBezTo>
                <a:cubicBezTo>
                  <a:pt x="71" y="108"/>
                  <a:pt x="68" y="107"/>
                  <a:pt x="64" y="107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11" y="107"/>
                  <a:pt x="0" y="118"/>
                  <a:pt x="0" y="131"/>
                </a:cubicBezTo>
                <a:cubicBezTo>
                  <a:pt x="8" y="203"/>
                  <a:pt x="8" y="203"/>
                  <a:pt x="8" y="203"/>
                </a:cubicBezTo>
                <a:cubicBezTo>
                  <a:pt x="10" y="216"/>
                  <a:pt x="19" y="227"/>
                  <a:pt x="32" y="227"/>
                </a:cubicBezTo>
                <a:cubicBezTo>
                  <a:pt x="64" y="227"/>
                  <a:pt x="64" y="227"/>
                  <a:pt x="64" y="227"/>
                </a:cubicBezTo>
                <a:cubicBezTo>
                  <a:pt x="74" y="227"/>
                  <a:pt x="83" y="221"/>
                  <a:pt x="87" y="212"/>
                </a:cubicBezTo>
                <a:cubicBezTo>
                  <a:pt x="100" y="219"/>
                  <a:pt x="100" y="219"/>
                  <a:pt x="100" y="219"/>
                </a:cubicBezTo>
                <a:cubicBezTo>
                  <a:pt x="101" y="219"/>
                  <a:pt x="102" y="219"/>
                  <a:pt x="103" y="219"/>
                </a:cubicBezTo>
                <a:cubicBezTo>
                  <a:pt x="210" y="219"/>
                  <a:pt x="210" y="219"/>
                  <a:pt x="210" y="219"/>
                </a:cubicBezTo>
                <a:cubicBezTo>
                  <a:pt x="222" y="219"/>
                  <a:pt x="232" y="210"/>
                  <a:pt x="232" y="197"/>
                </a:cubicBezTo>
                <a:cubicBezTo>
                  <a:pt x="232" y="194"/>
                  <a:pt x="231" y="191"/>
                  <a:pt x="230" y="188"/>
                </a:cubicBezTo>
                <a:cubicBezTo>
                  <a:pt x="236" y="184"/>
                  <a:pt x="240" y="177"/>
                  <a:pt x="240" y="169"/>
                </a:cubicBezTo>
                <a:cubicBezTo>
                  <a:pt x="240" y="166"/>
                  <a:pt x="239" y="162"/>
                  <a:pt x="238" y="159"/>
                </a:cubicBezTo>
                <a:cubicBezTo>
                  <a:pt x="244" y="155"/>
                  <a:pt x="248" y="148"/>
                  <a:pt x="248" y="140"/>
                </a:cubicBezTo>
                <a:cubicBezTo>
                  <a:pt x="248" y="135"/>
                  <a:pt x="247" y="131"/>
                  <a:pt x="245" y="128"/>
                </a:cubicBezTo>
                <a:cubicBezTo>
                  <a:pt x="252" y="123"/>
                  <a:pt x="256" y="116"/>
                  <a:pt x="256" y="108"/>
                </a:cubicBezTo>
                <a:close/>
                <a:moveTo>
                  <a:pt x="64" y="211"/>
                </a:moveTo>
                <a:cubicBezTo>
                  <a:pt x="32" y="211"/>
                  <a:pt x="32" y="211"/>
                  <a:pt x="32" y="211"/>
                </a:cubicBezTo>
                <a:cubicBezTo>
                  <a:pt x="28" y="211"/>
                  <a:pt x="25" y="206"/>
                  <a:pt x="24" y="202"/>
                </a:cubicBezTo>
                <a:cubicBezTo>
                  <a:pt x="16" y="131"/>
                  <a:pt x="16" y="131"/>
                  <a:pt x="16" y="131"/>
                </a:cubicBezTo>
                <a:cubicBezTo>
                  <a:pt x="17" y="127"/>
                  <a:pt x="20" y="123"/>
                  <a:pt x="24" y="123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9" y="123"/>
                  <a:pt x="72" y="127"/>
                  <a:pt x="72" y="131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2" y="199"/>
                  <a:pt x="72" y="200"/>
                  <a:pt x="72" y="201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72" y="208"/>
                  <a:pt x="69" y="211"/>
                  <a:pt x="64" y="211"/>
                </a:cubicBezTo>
                <a:close/>
                <a:moveTo>
                  <a:pt x="210" y="203"/>
                </a:moveTo>
                <a:cubicBezTo>
                  <a:pt x="105" y="203"/>
                  <a:pt x="105" y="203"/>
                  <a:pt x="105" y="203"/>
                </a:cubicBezTo>
                <a:cubicBezTo>
                  <a:pt x="88" y="194"/>
                  <a:pt x="88" y="194"/>
                  <a:pt x="88" y="194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88" y="128"/>
                  <a:pt x="87" y="124"/>
                  <a:pt x="86" y="121"/>
                </a:cubicBezTo>
                <a:cubicBezTo>
                  <a:pt x="100" y="109"/>
                  <a:pt x="136" y="75"/>
                  <a:pt x="136" y="48"/>
                </a:cubicBezTo>
                <a:cubicBezTo>
                  <a:pt x="136" y="31"/>
                  <a:pt x="136" y="16"/>
                  <a:pt x="140" y="16"/>
                </a:cubicBezTo>
                <a:cubicBezTo>
                  <a:pt x="148" y="16"/>
                  <a:pt x="156" y="25"/>
                  <a:pt x="156" y="44"/>
                </a:cubicBezTo>
                <a:cubicBezTo>
                  <a:pt x="156" y="67"/>
                  <a:pt x="152" y="90"/>
                  <a:pt x="152" y="90"/>
                </a:cubicBezTo>
                <a:cubicBezTo>
                  <a:pt x="152" y="93"/>
                  <a:pt x="153" y="95"/>
                  <a:pt x="154" y="97"/>
                </a:cubicBezTo>
                <a:cubicBezTo>
                  <a:pt x="156" y="98"/>
                  <a:pt x="158" y="100"/>
                  <a:pt x="160" y="100"/>
                </a:cubicBezTo>
                <a:cubicBezTo>
                  <a:pt x="232" y="100"/>
                  <a:pt x="232" y="100"/>
                  <a:pt x="232" y="100"/>
                </a:cubicBezTo>
                <a:cubicBezTo>
                  <a:pt x="237" y="100"/>
                  <a:pt x="240" y="103"/>
                  <a:pt x="240" y="108"/>
                </a:cubicBezTo>
                <a:cubicBezTo>
                  <a:pt x="240" y="112"/>
                  <a:pt x="237" y="116"/>
                  <a:pt x="232" y="116"/>
                </a:cubicBezTo>
                <a:cubicBezTo>
                  <a:pt x="223" y="116"/>
                  <a:pt x="223" y="116"/>
                  <a:pt x="223" y="116"/>
                </a:cubicBezTo>
                <a:cubicBezTo>
                  <a:pt x="219" y="116"/>
                  <a:pt x="215" y="119"/>
                  <a:pt x="215" y="124"/>
                </a:cubicBezTo>
                <a:cubicBezTo>
                  <a:pt x="215" y="128"/>
                  <a:pt x="219" y="132"/>
                  <a:pt x="223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4" y="132"/>
                  <a:pt x="224" y="132"/>
                  <a:pt x="224" y="132"/>
                </a:cubicBezTo>
                <a:cubicBezTo>
                  <a:pt x="229" y="132"/>
                  <a:pt x="232" y="135"/>
                  <a:pt x="232" y="140"/>
                </a:cubicBezTo>
                <a:cubicBezTo>
                  <a:pt x="232" y="144"/>
                  <a:pt x="229" y="148"/>
                  <a:pt x="224" y="148"/>
                </a:cubicBezTo>
                <a:cubicBezTo>
                  <a:pt x="219" y="148"/>
                  <a:pt x="219" y="148"/>
                  <a:pt x="219" y="148"/>
                </a:cubicBezTo>
                <a:cubicBezTo>
                  <a:pt x="219" y="148"/>
                  <a:pt x="218" y="147"/>
                  <a:pt x="218" y="147"/>
                </a:cubicBezTo>
                <a:cubicBezTo>
                  <a:pt x="218" y="147"/>
                  <a:pt x="218" y="148"/>
                  <a:pt x="218" y="148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11" y="148"/>
                  <a:pt x="207" y="151"/>
                  <a:pt x="207" y="156"/>
                </a:cubicBezTo>
                <a:cubicBezTo>
                  <a:pt x="207" y="160"/>
                  <a:pt x="211" y="164"/>
                  <a:pt x="215" y="164"/>
                </a:cubicBezTo>
                <a:cubicBezTo>
                  <a:pt x="218" y="164"/>
                  <a:pt x="218" y="164"/>
                  <a:pt x="218" y="164"/>
                </a:cubicBezTo>
                <a:cubicBezTo>
                  <a:pt x="222" y="164"/>
                  <a:pt x="224" y="166"/>
                  <a:pt x="224" y="169"/>
                </a:cubicBezTo>
                <a:cubicBezTo>
                  <a:pt x="224" y="173"/>
                  <a:pt x="221" y="175"/>
                  <a:pt x="218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10" y="175"/>
                  <a:pt x="210" y="175"/>
                  <a:pt x="210" y="175"/>
                </a:cubicBezTo>
                <a:cubicBezTo>
                  <a:pt x="206" y="175"/>
                  <a:pt x="202" y="179"/>
                  <a:pt x="202" y="183"/>
                </a:cubicBezTo>
                <a:cubicBezTo>
                  <a:pt x="202" y="188"/>
                  <a:pt x="206" y="191"/>
                  <a:pt x="210" y="191"/>
                </a:cubicBezTo>
                <a:cubicBezTo>
                  <a:pt x="213" y="191"/>
                  <a:pt x="216" y="194"/>
                  <a:pt x="216" y="197"/>
                </a:cubicBezTo>
                <a:cubicBezTo>
                  <a:pt x="216" y="201"/>
                  <a:pt x="213" y="203"/>
                  <a:pt x="210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84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AA013C9-452F-6C17-AE4B-521BD40AA668}"/>
              </a:ext>
            </a:extLst>
          </p:cNvPr>
          <p:cNvGrpSpPr>
            <a:grpSpLocks noChangeAspect="1"/>
          </p:cNvGrpSpPr>
          <p:nvPr/>
        </p:nvGrpSpPr>
        <p:grpSpPr>
          <a:xfrm>
            <a:off x="4619836" y="2312754"/>
            <a:ext cx="407556" cy="387934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D1E3DC6A-BE9C-A4AF-5220-EC5C240BE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71834456-D768-1E84-99C4-F87C2E6332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FC9870BE-B9E7-79F9-36EE-2F72CAC71D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1D495937-4003-AB03-88D3-EA333586F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3CE0E166-1C4C-6330-A427-9A51539D2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6E99BDF2-A70C-AB0D-B813-48C62579A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1794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4</TotalTime>
  <Words>15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74</cp:revision>
  <dcterms:created xsi:type="dcterms:W3CDTF">2021-03-31T02:49:57Z</dcterms:created>
  <dcterms:modified xsi:type="dcterms:W3CDTF">2025-10-15T03:16:16Z</dcterms:modified>
  <cp:category/>
</cp:coreProperties>
</file>